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45"/>
  </p:notesMasterIdLst>
  <p:handoutMasterIdLst>
    <p:handoutMasterId r:id="rId46"/>
  </p:handoutMasterIdLst>
  <p:sldIdLst>
    <p:sldId id="321" r:id="rId5"/>
    <p:sldId id="2145705986" r:id="rId6"/>
    <p:sldId id="304" r:id="rId7"/>
    <p:sldId id="2145705826" r:id="rId8"/>
    <p:sldId id="2145706150" r:id="rId9"/>
    <p:sldId id="2145706051" r:id="rId10"/>
    <p:sldId id="2145706052" r:id="rId11"/>
    <p:sldId id="2145706053" r:id="rId12"/>
    <p:sldId id="2145706110" r:id="rId13"/>
    <p:sldId id="2145706054" r:id="rId14"/>
    <p:sldId id="2145706132" r:id="rId15"/>
    <p:sldId id="2145706148" r:id="rId16"/>
    <p:sldId id="2145706084" r:id="rId17"/>
    <p:sldId id="2145706078" r:id="rId18"/>
    <p:sldId id="2145706079" r:id="rId19"/>
    <p:sldId id="2145706087" r:id="rId20"/>
    <p:sldId id="2145706133" r:id="rId21"/>
    <p:sldId id="2145706151" r:id="rId22"/>
    <p:sldId id="2145706055" r:id="rId23"/>
    <p:sldId id="2145706059" r:id="rId24"/>
    <p:sldId id="2145706071" r:id="rId25"/>
    <p:sldId id="2145706139" r:id="rId26"/>
    <p:sldId id="2145706140" r:id="rId27"/>
    <p:sldId id="2145706152" r:id="rId28"/>
    <p:sldId id="2145706070" r:id="rId29"/>
    <p:sldId id="2145706141" r:id="rId30"/>
    <p:sldId id="2145706153" r:id="rId31"/>
    <p:sldId id="2145706074" r:id="rId32"/>
    <p:sldId id="2145706143" r:id="rId33"/>
    <p:sldId id="2145706154" r:id="rId34"/>
    <p:sldId id="2145706088" r:id="rId35"/>
    <p:sldId id="2145706119" r:id="rId36"/>
    <p:sldId id="2145706089" r:id="rId37"/>
    <p:sldId id="2145706144" r:id="rId38"/>
    <p:sldId id="2145706155" r:id="rId39"/>
    <p:sldId id="2145706112" r:id="rId40"/>
    <p:sldId id="2145706145" r:id="rId41"/>
    <p:sldId id="2145706149" r:id="rId42"/>
    <p:sldId id="2145706138" r:id="rId43"/>
    <p:sldId id="2145705823" r:id="rId44"/>
  </p:sldIdLst>
  <p:sldSz cx="12192000" cy="6858000"/>
  <p:notesSz cx="6858000" cy="9144000"/>
  <p:custDataLst>
    <p:tags r:id="rId4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2C73F9-F873-4F61-86BC-57A8684397C3}" v="10" dt="2024-05-28T06:23:51.3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31" autoAdjust="0"/>
    <p:restoredTop sz="73148" autoAdjust="0"/>
  </p:normalViewPr>
  <p:slideViewPr>
    <p:cSldViewPr snapToGrid="0">
      <p:cViewPr>
        <p:scale>
          <a:sx n="100" d="100"/>
          <a:sy n="100" d="100"/>
        </p:scale>
        <p:origin x="942" y="-4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16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16.07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279183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393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CCCA4B8-55A2-0FB1-0B6D-FC82C9E0B8B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39" b="8337"/>
          <a:stretch/>
        </p:blipFill>
        <p:spPr>
          <a:xfrm>
            <a:off x="1941147" y="549000"/>
            <a:ext cx="8098049" cy="607303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se Case Diagram</a:t>
            </a:r>
          </a:p>
        </p:txBody>
      </p:sp>
    </p:spTree>
    <p:extLst>
      <p:ext uri="{BB962C8B-B14F-4D97-AF65-F5344CB8AC3E}">
        <p14:creationId xmlns:p14="http://schemas.microsoft.com/office/powerpoint/2010/main" val="1466135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" b="47477"/>
          <a:stretch/>
        </p:blipFill>
        <p:spPr>
          <a:xfrm>
            <a:off x="1670811" y="878360"/>
            <a:ext cx="9140064" cy="5979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823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574"/>
          <a:stretch/>
        </p:blipFill>
        <p:spPr>
          <a:xfrm>
            <a:off x="1670811" y="878360"/>
            <a:ext cx="9140064" cy="5979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04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530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02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Calenda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35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Activity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71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02" r="6302"/>
          <a:stretch/>
        </p:blipFill>
        <p:spPr>
          <a:xfrm>
            <a:off x="370702" y="836714"/>
            <a:ext cx="4943614" cy="566294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Dashboard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17479" y="836713"/>
            <a:ext cx="4697129" cy="5861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68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– Dashboar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D0AD6CB-F2FB-C3FD-CDF1-8C4F1DC160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13990" y="841267"/>
            <a:ext cx="8564019" cy="5876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650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60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ao Ly  |  </a:t>
            </a:r>
            <a:r>
              <a:rPr lang="en-US" dirty="0"/>
              <a:t>20.06.2024</a:t>
            </a:r>
            <a:endParaRPr lang="en-GB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MentorHub</a:t>
            </a:r>
            <a:br>
              <a:rPr lang="en-US" dirty="0"/>
            </a:br>
            <a:r>
              <a:rPr lang="en-US" sz="4000" dirty="0"/>
              <a:t>Communication Subsystem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2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Video Call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45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F7167A-C851-8094-DA20-58E57F3326A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32" t="5735" r="6847" b="35299"/>
          <a:stretch/>
        </p:blipFill>
        <p:spPr>
          <a:xfrm>
            <a:off x="361778" y="1011000"/>
            <a:ext cx="4343630" cy="528184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Hom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5408" y="1357986"/>
            <a:ext cx="7340600" cy="4587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872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F7167A-C851-8094-DA20-58E57F3326A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36" t="64530" r="9072" b="4826"/>
          <a:stretch/>
        </p:blipFill>
        <p:spPr>
          <a:xfrm>
            <a:off x="80956" y="1905860"/>
            <a:ext cx="4696990" cy="3046279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Ho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77132AD-F8D3-D92E-9A61-D22CA86C28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5408" y="1357986"/>
            <a:ext cx="7340600" cy="4587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240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– Ho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E8F313-0A17-CEA7-2A3A-8A80918C6F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74221" y="807657"/>
            <a:ext cx="7643556" cy="605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52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Direct Messag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1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7D305CD-B82C-D066-FC2B-5C44392D3AB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87" r="10595"/>
          <a:stretch/>
        </p:blipFill>
        <p:spPr>
          <a:xfrm>
            <a:off x="84668" y="656469"/>
            <a:ext cx="5353554" cy="608693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Direct Messag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47310" y="1714818"/>
            <a:ext cx="6352371" cy="3970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471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– Direct Messag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CD6A8D9-8823-1615-A55D-A2E0C38897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1098000"/>
            <a:ext cx="12071623" cy="494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749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Meeting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21304" y="783000"/>
            <a:ext cx="9149392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43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661C93D-DCE7-2278-7957-C4F3A061CFA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6" t="14236" r="14286" b="14460"/>
          <a:stretch/>
        </p:blipFill>
        <p:spPr>
          <a:xfrm>
            <a:off x="431999" y="1218324"/>
            <a:ext cx="4390768" cy="442135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Meeting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59528" y="1211368"/>
            <a:ext cx="6488137" cy="4307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961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 dirty="0"/>
              <a:t>Overview</a:t>
            </a:r>
          </a:p>
          <a:p>
            <a:r>
              <a:rPr lang="en-GB" noProof="0" dirty="0"/>
              <a:t>Use Case Diagram</a:t>
            </a:r>
          </a:p>
          <a:p>
            <a:r>
              <a:rPr lang="en-GB" dirty="0"/>
              <a:t>UI Design – Database Entity</a:t>
            </a:r>
          </a:p>
          <a:p>
            <a:r>
              <a:rPr lang="en-GB" dirty="0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Agenda</a:t>
            </a:r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– Meet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71D15B-5D8F-2162-0E2F-56D16BD93F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247" y="913112"/>
            <a:ext cx="10537505" cy="594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435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092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Fil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51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21304" y="783000"/>
            <a:ext cx="9149392" cy="6075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43561A1-2EA0-87D2-D579-44BBF4807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Design – Manage ticket</a:t>
            </a:r>
          </a:p>
        </p:txBody>
      </p:sp>
    </p:spTree>
    <p:extLst>
      <p:ext uri="{BB962C8B-B14F-4D97-AF65-F5344CB8AC3E}">
        <p14:creationId xmlns:p14="http://schemas.microsoft.com/office/powerpoint/2010/main" val="333209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9582E0-A35B-7334-1411-7359454A17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55" r="6955"/>
          <a:stretch/>
        </p:blipFill>
        <p:spPr>
          <a:xfrm>
            <a:off x="0" y="977214"/>
            <a:ext cx="4703272" cy="516821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Manage Ticket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26994" y="1303840"/>
            <a:ext cx="6893214" cy="4576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994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Design – Manage Ticke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13B142-0681-F8B1-FE15-8C0D3E0D9A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041" y="832904"/>
            <a:ext cx="10543918" cy="6025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201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I Design – Preferenc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000" y="783000"/>
            <a:ext cx="9720000" cy="60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006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EAB42BC-1E28-252C-B9F8-7D1B8A5E850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29" t="12480" r="9416" b="11258"/>
          <a:stretch/>
        </p:blipFill>
        <p:spPr>
          <a:xfrm>
            <a:off x="54491" y="1303946"/>
            <a:ext cx="5312014" cy="421540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Database Entity – Preference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1FB7362-3818-6C86-A900-A95863991E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92860" y="1303946"/>
            <a:ext cx="6744649" cy="421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037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>
            <a:extLst>
              <a:ext uri="{FF2B5EF4-FFF2-40B4-BE49-F238E27FC236}">
                <a16:creationId xmlns:a16="http://schemas.microsoft.com/office/drawing/2014/main" id="{E1CE0052-DD16-6E7F-FC37-9F784745AE39}"/>
              </a:ext>
            </a:extLst>
          </p:cNvPr>
          <p:cNvSpPr txBox="1">
            <a:spLocks/>
          </p:cNvSpPr>
          <p:nvPr/>
        </p:nvSpPr>
        <p:spPr>
          <a:xfrm>
            <a:off x="430312" y="3239336"/>
            <a:ext cx="11331375" cy="147732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THANK YOU</a:t>
            </a:r>
          </a:p>
          <a:p>
            <a:pPr algn="ctr"/>
            <a:r>
              <a:rPr lang="en-US" sz="4000" dirty="0">
                <a:solidFill>
                  <a:schemeClr val="bg1"/>
                </a:solidFill>
              </a:rPr>
              <a:t>FOR YOUR TIM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70EC0F5-9856-4AE6-127A-026CD7F1B132}"/>
              </a:ext>
            </a:extLst>
          </p:cNvPr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EB590CD-E937-81E3-1E09-8BC620EBF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0195" y="3429000"/>
            <a:ext cx="9720000" cy="1098000"/>
          </a:xfrm>
        </p:spPr>
        <p:txBody>
          <a:bodyPr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QUESTIONS AND ANSWER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944E51-778C-CA0B-328C-664D550EC84B}"/>
              </a:ext>
            </a:extLst>
          </p:cNvPr>
          <p:cNvSpPr txBox="1">
            <a:spLocks/>
          </p:cNvSpPr>
          <p:nvPr/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519136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>
            <a:extLst>
              <a:ext uri="{FF2B5EF4-FFF2-40B4-BE49-F238E27FC236}">
                <a16:creationId xmlns:a16="http://schemas.microsoft.com/office/drawing/2014/main" id="{E1CE0052-DD16-6E7F-FC37-9F784745AE39}"/>
              </a:ext>
            </a:extLst>
          </p:cNvPr>
          <p:cNvSpPr txBox="1">
            <a:spLocks/>
          </p:cNvSpPr>
          <p:nvPr/>
        </p:nvSpPr>
        <p:spPr>
          <a:xfrm>
            <a:off x="430312" y="3239336"/>
            <a:ext cx="11331375" cy="147732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THANK YOU</a:t>
            </a:r>
          </a:p>
          <a:p>
            <a:pPr algn="ctr"/>
            <a:r>
              <a:rPr lang="en-US" sz="4000" dirty="0">
                <a:solidFill>
                  <a:schemeClr val="bg1"/>
                </a:solidFill>
              </a:rPr>
              <a:t>FOR YOUR TIM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70EC0F5-9856-4AE6-127A-026CD7F1B132}"/>
              </a:ext>
            </a:extLst>
          </p:cNvPr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EB590CD-E937-81E3-1E09-8BC620EBF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0195" y="3429000"/>
            <a:ext cx="9720000" cy="1098000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HANK YOU FOR YOUR TIME</a:t>
            </a:r>
          </a:p>
        </p:txBody>
      </p:sp>
    </p:spTree>
    <p:extLst>
      <p:ext uri="{BB962C8B-B14F-4D97-AF65-F5344CB8AC3E}">
        <p14:creationId xmlns:p14="http://schemas.microsoft.com/office/powerpoint/2010/main" val="1890766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Mentor Hub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81FFB68-BCC0-0244-6B26-9565581DD2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287" y="1300162"/>
            <a:ext cx="9877425" cy="425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24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46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Mentor Hub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AF3297-857E-D1B7-9B0C-20458DE6E7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0700" y="1304925"/>
            <a:ext cx="8610600" cy="424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630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Communication Subsyste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C64765-97E0-B5E7-D159-ABA9FEA896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2428" y="858863"/>
            <a:ext cx="10347142" cy="5707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75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4F6292C-6B69-4489-A94A-93567ADA6F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39792" y="703873"/>
            <a:ext cx="6912415" cy="589915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Overview – Communication Subsystem</a:t>
            </a:r>
          </a:p>
        </p:txBody>
      </p:sp>
    </p:spTree>
    <p:extLst>
      <p:ext uri="{BB962C8B-B14F-4D97-AF65-F5344CB8AC3E}">
        <p14:creationId xmlns:p14="http://schemas.microsoft.com/office/powerpoint/2010/main" val="361424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85D075-85DB-8785-8F1A-450FC842C49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47" b="4747"/>
          <a:stretch/>
        </p:blipFill>
        <p:spPr>
          <a:xfrm>
            <a:off x="2973267" y="1"/>
            <a:ext cx="4637464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Use Case Diagra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233A5F-0F07-43B4-84DC-ED782E887E57}"/>
              </a:ext>
            </a:extLst>
          </p:cNvPr>
          <p:cNvSpPr txBox="1"/>
          <p:nvPr/>
        </p:nvSpPr>
        <p:spPr>
          <a:xfrm>
            <a:off x="7830684" y="2255226"/>
            <a:ext cx="2101361" cy="234754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dirty="0"/>
              <a:t>4 actors: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or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Mentee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Organization</a:t>
            </a:r>
          </a:p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Tx/>
              <a:buChar char="-"/>
            </a:pPr>
            <a:r>
              <a:rPr lang="en-US" dirty="0"/>
              <a:t>System</a:t>
            </a:r>
          </a:p>
        </p:txBody>
      </p:sp>
    </p:spTree>
    <p:extLst>
      <p:ext uri="{BB962C8B-B14F-4D97-AF65-F5344CB8AC3E}">
        <p14:creationId xmlns:p14="http://schemas.microsoft.com/office/powerpoint/2010/main" val="402202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F68F76-0312-AB4E-7AD9-3342CE7F12B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91" b="4591"/>
          <a:stretch/>
        </p:blipFill>
        <p:spPr>
          <a:xfrm>
            <a:off x="2840952" y="1"/>
            <a:ext cx="6510095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vert="horz"/>
          <a:lstStyle/>
          <a:p>
            <a:r>
              <a:rPr lang="en-GB" dirty="0"/>
              <a:t>Use Case Diagram</a:t>
            </a:r>
          </a:p>
        </p:txBody>
      </p:sp>
    </p:spTree>
    <p:extLst>
      <p:ext uri="{BB962C8B-B14F-4D97-AF65-F5344CB8AC3E}">
        <p14:creationId xmlns:p14="http://schemas.microsoft.com/office/powerpoint/2010/main" val="84768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B0F42E2-0E6A-4852-8EA1-9F7D6F366003}">
  <ds:schemaRefs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680405e6-b67e-4188-afe9-1f6c4cc802d0"/>
    <ds:schemaRef ds:uri="5a0a5fd8-e554-4dec-ae9e-1a78583e7e41"/>
    <ds:schemaRef ds:uri="http://schemas.microsoft.com/office/2006/metadata/properties"/>
    <ds:schemaRef ds:uri="http://purl.org/dc/terms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6414</TotalTime>
  <Words>194</Words>
  <Application>Microsoft Office PowerPoint</Application>
  <PresentationFormat>Widescreen</PresentationFormat>
  <Paragraphs>57</Paragraphs>
  <Slides>4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44" baseType="lpstr">
      <vt:lpstr>Arial</vt:lpstr>
      <vt:lpstr>Calibri</vt:lpstr>
      <vt:lpstr>bbv template EN</vt:lpstr>
      <vt:lpstr>think-cell Slide</vt:lpstr>
      <vt:lpstr>PowerPoint Presentation</vt:lpstr>
      <vt:lpstr>Project MentorHub Communication Subsystem</vt:lpstr>
      <vt:lpstr>Agenda</vt:lpstr>
      <vt:lpstr>Overview – Mentor Hub</vt:lpstr>
      <vt:lpstr>Overview – Mentor Hub</vt:lpstr>
      <vt:lpstr>Overview – Communication Subsystem</vt:lpstr>
      <vt:lpstr>Overview – Communication Subsystem</vt:lpstr>
      <vt:lpstr>Use Case Diagram</vt:lpstr>
      <vt:lpstr>Use Case Diagram</vt:lpstr>
      <vt:lpstr>Use Case Diagram</vt:lpstr>
      <vt:lpstr>UI Design – Dashboard</vt:lpstr>
      <vt:lpstr>UI Design – Dashboard</vt:lpstr>
      <vt:lpstr>UI Design – Calendar</vt:lpstr>
      <vt:lpstr>UI Design – Calendar</vt:lpstr>
      <vt:lpstr>UI Design – Calendar</vt:lpstr>
      <vt:lpstr>UI Design – Activity </vt:lpstr>
      <vt:lpstr>Database Entity – Dashboard</vt:lpstr>
      <vt:lpstr>Database Design – Dashboard</vt:lpstr>
      <vt:lpstr>UI Design – Home</vt:lpstr>
      <vt:lpstr>UI Design – Home</vt:lpstr>
      <vt:lpstr>UI Design – Video Call</vt:lpstr>
      <vt:lpstr>Database Entity – Home</vt:lpstr>
      <vt:lpstr>Database Entity – Home</vt:lpstr>
      <vt:lpstr>Database Design – Home</vt:lpstr>
      <vt:lpstr>UI Design – Direct Messages</vt:lpstr>
      <vt:lpstr>Database Entity – Direct Messages</vt:lpstr>
      <vt:lpstr>Database Design – Direct Messages</vt:lpstr>
      <vt:lpstr>UI Design – Meeting</vt:lpstr>
      <vt:lpstr>Database Entity – Meeting</vt:lpstr>
      <vt:lpstr>Database Design – Meeting</vt:lpstr>
      <vt:lpstr>UI Design – Files</vt:lpstr>
      <vt:lpstr>UI Design – Files</vt:lpstr>
      <vt:lpstr>UI Design – Manage ticket</vt:lpstr>
      <vt:lpstr>Database Entity – Manage Ticket</vt:lpstr>
      <vt:lpstr>Database Design – Manage Ticket</vt:lpstr>
      <vt:lpstr>UI Design – Preferences</vt:lpstr>
      <vt:lpstr>Database Entity – Preferences</vt:lpstr>
      <vt:lpstr>QUESTIONS AND ANSWERS</vt:lpstr>
      <vt:lpstr>THANK YOU FOR YOUR TI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Ly Bao</cp:lastModifiedBy>
  <cp:revision>39</cp:revision>
  <dcterms:created xsi:type="dcterms:W3CDTF">2023-03-02T06:20:39Z</dcterms:created>
  <dcterms:modified xsi:type="dcterms:W3CDTF">2024-07-16T10:07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